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727272"/>
    <a:srgbClr val="F6F6F6"/>
    <a:srgbClr val="BDBDBD"/>
    <a:srgbClr val="E5E5E5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102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Weigel Stefan (PAR-EPS)" userId="fd3b2067-2981-4ad8-bf3a-d2e1004e4fa8" providerId="ADAL" clId="{FF599986-466E-41C5-8607-449B6FA97672}"/>
    <pc:docChg chg="modSld">
      <pc:chgData name="Weigel Stefan (PAR-EPS)" userId="fd3b2067-2981-4ad8-bf3a-d2e1004e4fa8" providerId="ADAL" clId="{FF599986-466E-41C5-8607-449B6FA97672}" dt="2025-02-25T12:43:45.999" v="8" actId="27918"/>
      <pc:docMkLst>
        <pc:docMk/>
      </pc:docMkLst>
      <pc:sldChg chg="modSp mod">
        <pc:chgData name="Weigel Stefan (PAR-EPS)" userId="fd3b2067-2981-4ad8-bf3a-d2e1004e4fa8" providerId="ADAL" clId="{FF599986-466E-41C5-8607-449B6FA97672}" dt="2025-02-25T12:43:45.999" v="8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FF599986-466E-41C5-8607-449B6FA97672}" dt="2025-02-24T08:24:56.356" v="1" actId="20577"/>
          <ac:spMkLst>
            <pc:docMk/>
            <pc:sldMk cId="2338066774" sldId="399"/>
            <ac:spMk id="2" creationId="{00000000-0000-0000-0000-000000000000}"/>
          </ac:spMkLst>
        </pc:spChg>
        <pc:graphicFrameChg chg="mod">
          <ac:chgData name="Weigel Stefan (PAR-EPS)" userId="fd3b2067-2981-4ad8-bf3a-d2e1004e4fa8" providerId="ADAL" clId="{FF599986-466E-41C5-8607-449B6FA97672}" dt="2025-02-24T08:25:43.647" v="5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Weigel Stefan (PAR-EPS)" userId="fd3b2067-2981-4ad8-bf3a-d2e1004e4fa8" providerId="ADAL" clId="{BE7B5A81-D0A2-48B1-A119-FC60B2F71E41}"/>
    <pc:docChg chg="undo custSel modSld">
      <pc:chgData name="Weigel Stefan (PAR-EPS)" userId="fd3b2067-2981-4ad8-bf3a-d2e1004e4fa8" providerId="ADAL" clId="{BE7B5A81-D0A2-48B1-A119-FC60B2F71E41}" dt="2024-01-11T17:05:46.066" v="21" actId="27918"/>
      <pc:docMkLst>
        <pc:docMk/>
      </pc:docMkLst>
      <pc:sldChg chg="modSp mod">
        <pc:chgData name="Weigel Stefan (PAR-EPS)" userId="fd3b2067-2981-4ad8-bf3a-d2e1004e4fa8" providerId="ADAL" clId="{BE7B5A81-D0A2-48B1-A119-FC60B2F71E41}" dt="2024-01-11T17:05:46.066" v="21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BE7B5A81-D0A2-48B1-A119-FC60B2F71E41}" dt="2024-01-11T17:03:45.253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E7B5A81-D0A2-48B1-A119-FC60B2F71E41}" dt="2024-01-11T17:04:01.671" v="8" actId="255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BE7B5A81-D0A2-48B1-A119-FC60B2F71E41}" dt="2024-01-11T17:03:52.761" v="4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Weigel Stefan (PAR-ES)" userId="fd3b2067-2981-4ad8-bf3a-d2e1004e4fa8" providerId="ADAL" clId="{22EBFF8F-199A-4831-9BCB-5DCC486EB2D8}"/>
    <pc:docChg chg="custSel modSld">
      <pc:chgData name="Weigel Stefan (PAR-ES)" userId="fd3b2067-2981-4ad8-bf3a-d2e1004e4fa8" providerId="ADAL" clId="{22EBFF8F-199A-4831-9BCB-5DCC486EB2D8}" dt="2023-02-01T14:25:38.584" v="9" actId="27918"/>
      <pc:docMkLst>
        <pc:docMk/>
      </pc:docMkLst>
      <pc:sldChg chg="modSp mod">
        <pc:chgData name="Weigel Stefan (PAR-ES)" userId="fd3b2067-2981-4ad8-bf3a-d2e1004e4fa8" providerId="ADAL" clId="{22EBFF8F-199A-4831-9BCB-5DCC486EB2D8}" dt="2023-02-01T14:25:38.584" v="9" actId="27918"/>
        <pc:sldMkLst>
          <pc:docMk/>
          <pc:sldMk cId="2338066774" sldId="399"/>
        </pc:sldMkLst>
        <pc:spChg chg="mod">
          <ac:chgData name="Weigel Stefan (PAR-ES)" userId="fd3b2067-2981-4ad8-bf3a-d2e1004e4fa8" providerId="ADAL" clId="{22EBFF8F-199A-4831-9BCB-5DCC486EB2D8}" dt="2023-02-01T14:25:03.451" v="2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22EBFF8F-199A-4831-9BCB-5DCC486EB2D8}" dt="2023-02-01T14:25:29.801" v="6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22EBFF8F-199A-4831-9BCB-5DCC486EB2D8}" dt="2023-02-01T14:25:25.718" v="3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60768D0B-E237-4E63-91AC-DEA8C2C94B14}"/>
    <pc:docChg chg="modSld">
      <pc:chgData name="Weigel Stefan (PAR-EPS)" userId="fd3b2067-2981-4ad8-bf3a-d2e1004e4fa8" providerId="ADAL" clId="{60768D0B-E237-4E63-91AC-DEA8C2C94B14}" dt="2024-02-01T17:26:18.217" v="6" actId="27918"/>
      <pc:docMkLst>
        <pc:docMk/>
      </pc:docMkLst>
      <pc:sldChg chg="mod">
        <pc:chgData name="Weigel Stefan (PAR-EPS)" userId="fd3b2067-2981-4ad8-bf3a-d2e1004e4fa8" providerId="ADAL" clId="{60768D0B-E237-4E63-91AC-DEA8C2C94B14}" dt="2024-02-01T17:26:18.217" v="6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5728104-6C49-493B-A2B9-D265037D5566}"/>
    <pc:docChg chg="modSld">
      <pc:chgData name="Weigel Stefan (PAR-EPS)" userId="fd3b2067-2981-4ad8-bf3a-d2e1004e4fa8" providerId="ADAL" clId="{45728104-6C49-493B-A2B9-D265037D5566}" dt="2024-04-22T11:58:33.819" v="14" actId="207"/>
      <pc:docMkLst>
        <pc:docMk/>
      </pc:docMkLst>
      <pc:sldChg chg="modSp mod">
        <pc:chgData name="Weigel Stefan (PAR-EPS)" userId="fd3b2067-2981-4ad8-bf3a-d2e1004e4fa8" providerId="ADAL" clId="{45728104-6C49-493B-A2B9-D265037D5566}" dt="2024-04-22T11:58:33.819" v="14" actId="207"/>
        <pc:sldMkLst>
          <pc:docMk/>
          <pc:sldMk cId="2338066774" sldId="399"/>
        </pc:sldMkLst>
        <pc:spChg chg="mod">
          <ac:chgData name="Weigel Stefan (PAR-EPS)" userId="fd3b2067-2981-4ad8-bf3a-d2e1004e4fa8" providerId="ADAL" clId="{45728104-6C49-493B-A2B9-D265037D5566}" dt="2024-04-22T11:57:28.701" v="9" actId="554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45728104-6C49-493B-A2B9-D265037D5566}" dt="2024-04-22T11:57:28.701" v="9" actId="554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45728104-6C49-493B-A2B9-D265037D5566}" dt="2024-04-22T11:58:33.819" v="14" actId="207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S)" userId="fd3b2067-2981-4ad8-bf3a-d2e1004e4fa8" providerId="ADAL" clId="{E5DC8321-2A15-4029-A656-EDA02A5FF0BA}"/>
    <pc:docChg chg="modSld">
      <pc:chgData name="Weigel Stefan (PAR-ES)" userId="fd3b2067-2981-4ad8-bf3a-d2e1004e4fa8" providerId="ADAL" clId="{E5DC8321-2A15-4029-A656-EDA02A5FF0BA}" dt="2023-02-01T14:17:01.345" v="79" actId="20577"/>
      <pc:docMkLst>
        <pc:docMk/>
      </pc:docMkLst>
      <pc:sldChg chg="modSp mod">
        <pc:chgData name="Weigel Stefan (PAR-ES)" userId="fd3b2067-2981-4ad8-bf3a-d2e1004e4fa8" providerId="ADAL" clId="{E5DC8321-2A15-4029-A656-EDA02A5FF0BA}" dt="2023-02-01T14:17:01.345" v="79" actId="20577"/>
        <pc:sldMkLst>
          <pc:docMk/>
          <pc:sldMk cId="2338066774" sldId="399"/>
        </pc:sldMkLst>
        <pc:spChg chg="mod">
          <ac:chgData name="Weigel Stefan (PAR-ES)" userId="fd3b2067-2981-4ad8-bf3a-d2e1004e4fa8" providerId="ADAL" clId="{E5DC8321-2A15-4029-A656-EDA02A5FF0BA}" dt="2023-02-01T14:16:06.943" v="7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E5DC8321-2A15-4029-A656-EDA02A5FF0BA}" dt="2023-02-01T14:17:01.345" v="79" actId="20577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2506105764591711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Uomini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meno di 5 anni</c:v>
                </c:pt>
                <c:pt idx="1">
                  <c:v>tra 5 e 9 anni</c:v>
                </c:pt>
                <c:pt idx="2">
                  <c:v>tra 10 e 14 anni</c:v>
                </c:pt>
                <c:pt idx="3">
                  <c:v>tra 15 e 19 anni</c:v>
                </c:pt>
                <c:pt idx="4">
                  <c:v>tra 20 e 24 anni</c:v>
                </c:pt>
                <c:pt idx="5">
                  <c:v>tra 25 e 29 anni</c:v>
                </c:pt>
                <c:pt idx="6">
                  <c:v>tra 30 e 34 anni</c:v>
                </c:pt>
                <c:pt idx="7">
                  <c:v>tra 35 e 39 anni</c:v>
                </c:pt>
                <c:pt idx="8">
                  <c:v>tra 40 e 44 anni</c:v>
                </c:pt>
                <c:pt idx="9">
                  <c:v>45 e più anni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672</c:v>
                </c:pt>
                <c:pt idx="1">
                  <c:v>-4319</c:v>
                </c:pt>
                <c:pt idx="2">
                  <c:v>-3385</c:v>
                </c:pt>
                <c:pt idx="3">
                  <c:v>-1780</c:v>
                </c:pt>
                <c:pt idx="4">
                  <c:v>-1512</c:v>
                </c:pt>
                <c:pt idx="5">
                  <c:v>-540</c:v>
                </c:pt>
                <c:pt idx="6">
                  <c:v>-1760</c:v>
                </c:pt>
                <c:pt idx="7">
                  <c:v>-2299</c:v>
                </c:pt>
                <c:pt idx="8">
                  <c:v>-1242</c:v>
                </c:pt>
                <c:pt idx="9">
                  <c:v>-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Donne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meno di 5 anni</c:v>
                </c:pt>
                <c:pt idx="1">
                  <c:v>tra 5 e 9 anni</c:v>
                </c:pt>
                <c:pt idx="2">
                  <c:v>tra 10 e 14 anni</c:v>
                </c:pt>
                <c:pt idx="3">
                  <c:v>tra 15 e 19 anni</c:v>
                </c:pt>
                <c:pt idx="4">
                  <c:v>tra 20 e 24 anni</c:v>
                </c:pt>
                <c:pt idx="5">
                  <c:v>tra 25 e 29 anni</c:v>
                </c:pt>
                <c:pt idx="6">
                  <c:v>tra 30 e 34 anni</c:v>
                </c:pt>
                <c:pt idx="7">
                  <c:v>tra 35 e 39 anni</c:v>
                </c:pt>
                <c:pt idx="8">
                  <c:v>tra 40 e 44 anni</c:v>
                </c:pt>
                <c:pt idx="9">
                  <c:v>45 e più anni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706</c:v>
                </c:pt>
                <c:pt idx="1">
                  <c:v>1259</c:v>
                </c:pt>
                <c:pt idx="2">
                  <c:v>930</c:v>
                </c:pt>
                <c:pt idx="3">
                  <c:v>477</c:v>
                </c:pt>
                <c:pt idx="4">
                  <c:v>368</c:v>
                </c:pt>
                <c:pt idx="5">
                  <c:v>106</c:v>
                </c:pt>
                <c:pt idx="6">
                  <c:v>342</c:v>
                </c:pt>
                <c:pt idx="7">
                  <c:v>258</c:v>
                </c:pt>
                <c:pt idx="8">
                  <c:v>74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rgbClr val="727272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433</cdr:x>
      <cdr:y>0.03681</cdr:y>
    </cdr:from>
    <cdr:to>
      <cdr:x>0.62728</cdr:x>
      <cdr:y>0.09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743757" y="164669"/>
          <a:ext cx="52955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CH" sz="1100" noProof="0" dirty="0"/>
            <a:t>Uomini </a:t>
          </a:r>
          <a:endParaRPr lang="it-CH" sz="1100" noProof="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903</cdr:x>
      <cdr:y>0.03681</cdr:y>
    </cdr:from>
    <cdr:to>
      <cdr:x>0.71006</cdr:x>
      <cdr:y>0.09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590824" y="164669"/>
          <a:ext cx="510323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Donne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5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Collaboratrici e collaboratori per anzianità di servizio nel 2024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98015" y="6092825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8" y="6092825"/>
            <a:ext cx="5837140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Numero di collaboratori/</a:t>
            </a:r>
            <a:r>
              <a:rPr lang="it-IT" sz="1100" dirty="0" err="1">
                <a:solidFill>
                  <a:srgbClr val="444444"/>
                </a:solidFill>
                <a:latin typeface="+mj-lt"/>
                <a:cs typeface="Arial" pitchFamily="34" charset="0"/>
              </a:rPr>
              <a:t>trici</a:t>
            </a:r>
            <a:r>
              <a:rPr lang="it-IT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 a fine anno. FFS SA e FFS Cargo SA (Svizzera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8136731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2f5c8543-cf23-4718-a3b8-32b0a91d511a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2B686BB-F2C0-4166-9671-168EC57367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ollaboratrici e collaboratori per anzianità di servizio nel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rici e collaboratori per anzianità di servizio nel 2024.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5-02-25T12:4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